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BD1-470E-B4CA-DB18F32643C5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BD1-470E-B4CA-DB18F32643C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BD1-470E-B4CA-DB18F32643C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BD1-470E-B4CA-DB18F32643C5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BD1-470E-B4CA-DB18F32643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5FC-446B-8E08-C65E8594A920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5FC-446B-8E08-C65E8594A92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5FC-446B-8E08-C65E8594A92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5FC-446B-8E08-C65E8594A920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5FC-446B-8E08-C65E8594A9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B6-4617-97C9-61ADAB166E22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B6-4617-97C9-61ADAB166E2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B6-4617-97C9-61ADAB166E2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B6-4617-97C9-61ADAB166E22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B6-4617-97C9-61ADAB166E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798-4ABA-AD31-36AAEDB0E2F4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8-4ABA-AD31-36AAEDB0E2F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8-4ABA-AD31-36AAEDB0E2F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798-4ABA-AD31-36AAEDB0E2F4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798-4ABA-AD31-36AAEDB0E2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3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4BD035-ED3E-66E1-9133-061D9BF6ED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76BC93E-B0C8-79C7-4588-9A8228AB8F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6BC93E-B0C8-79C7-4588-9A8228AB8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CCA1F2-4299-CFF3-A7BA-E76E88ADC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CC7A91-1B24-4BF0-6DF3-18707F7A8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3235BCF-1050-966C-8433-BB294F690665}"/>
              </a:ext>
            </a:extLst>
          </p:cNvPr>
          <p:cNvSpPr/>
          <p:nvPr/>
        </p:nvSpPr>
        <p:spPr>
          <a:xfrm>
            <a:off x="571500" y="1342408"/>
            <a:ext cx="2671715" cy="6858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43">
            <a:extLst>
              <a:ext uri="{FF2B5EF4-FFF2-40B4-BE49-F238E27FC236}">
                <a16:creationId xmlns:a16="http://schemas.microsoft.com/office/drawing/2014/main" id="{1205A59C-3E68-629D-B578-E4A431551290}"/>
              </a:ext>
            </a:extLst>
          </p:cNvPr>
          <p:cNvSpPr/>
          <p:nvPr/>
        </p:nvSpPr>
        <p:spPr>
          <a:xfrm>
            <a:off x="3363928" y="1342408"/>
            <a:ext cx="2671715" cy="6858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44">
            <a:extLst>
              <a:ext uri="{FF2B5EF4-FFF2-40B4-BE49-F238E27FC236}">
                <a16:creationId xmlns:a16="http://schemas.microsoft.com/office/drawing/2014/main" id="{9F475E42-E388-F6F6-F183-CA6CADB55CBA}"/>
              </a:ext>
            </a:extLst>
          </p:cNvPr>
          <p:cNvSpPr/>
          <p:nvPr/>
        </p:nvSpPr>
        <p:spPr>
          <a:xfrm>
            <a:off x="6156357" y="1342408"/>
            <a:ext cx="2671715" cy="6858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45">
            <a:extLst>
              <a:ext uri="{FF2B5EF4-FFF2-40B4-BE49-F238E27FC236}">
                <a16:creationId xmlns:a16="http://schemas.microsoft.com/office/drawing/2014/main" id="{70AE52B6-804B-05C1-D021-7C2B70546CF1}"/>
              </a:ext>
            </a:extLst>
          </p:cNvPr>
          <p:cNvSpPr/>
          <p:nvPr/>
        </p:nvSpPr>
        <p:spPr>
          <a:xfrm>
            <a:off x="8948785" y="1342408"/>
            <a:ext cx="2671715" cy="68580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9FCE0A7-EFB9-E20A-CDCC-04CB4DA9B0D1}"/>
              </a:ext>
            </a:extLst>
          </p:cNvPr>
          <p:cNvSpPr txBox="1"/>
          <p:nvPr/>
        </p:nvSpPr>
        <p:spPr>
          <a:xfrm>
            <a:off x="1017530" y="1485253"/>
            <a:ext cx="17796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STRENGT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C852D40-1650-0F48-8A62-73ECA18FD3A5}"/>
              </a:ext>
            </a:extLst>
          </p:cNvPr>
          <p:cNvSpPr txBox="1"/>
          <p:nvPr/>
        </p:nvSpPr>
        <p:spPr>
          <a:xfrm>
            <a:off x="4014762" y="1485253"/>
            <a:ext cx="13700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WEAKN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FB79AD-BE69-FADE-51FA-F25E8CEFC4AE}"/>
              </a:ext>
            </a:extLst>
          </p:cNvPr>
          <p:cNvSpPr txBox="1"/>
          <p:nvPr/>
        </p:nvSpPr>
        <p:spPr>
          <a:xfrm>
            <a:off x="6534359" y="1485253"/>
            <a:ext cx="19157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OPPORTUNITI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5861F2-DC38-AB27-F5A1-5CDE11815A3C}"/>
              </a:ext>
            </a:extLst>
          </p:cNvPr>
          <p:cNvSpPr txBox="1"/>
          <p:nvPr/>
        </p:nvSpPr>
        <p:spPr>
          <a:xfrm>
            <a:off x="9542677" y="1485253"/>
            <a:ext cx="14839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TREAT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30DB808-3B2B-FB1F-F333-B6DE8E722054}"/>
              </a:ext>
            </a:extLst>
          </p:cNvPr>
          <p:cNvSpPr/>
          <p:nvPr/>
        </p:nvSpPr>
        <p:spPr>
          <a:xfrm>
            <a:off x="998065" y="2381126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26BBFE-A132-8434-A14E-842A2E9576A5}"/>
              </a:ext>
            </a:extLst>
          </p:cNvPr>
          <p:cNvSpPr/>
          <p:nvPr/>
        </p:nvSpPr>
        <p:spPr>
          <a:xfrm>
            <a:off x="690242" y="2435952"/>
            <a:ext cx="155423" cy="15542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D3B7CF-A271-4775-4FAC-457A23E3B7CF}"/>
              </a:ext>
            </a:extLst>
          </p:cNvPr>
          <p:cNvSpPr/>
          <p:nvPr/>
        </p:nvSpPr>
        <p:spPr>
          <a:xfrm>
            <a:off x="998065" y="2840465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686637B-945F-E95C-417C-B0F96111E018}"/>
              </a:ext>
            </a:extLst>
          </p:cNvPr>
          <p:cNvSpPr/>
          <p:nvPr/>
        </p:nvSpPr>
        <p:spPr>
          <a:xfrm>
            <a:off x="690242" y="2895291"/>
            <a:ext cx="155423" cy="15542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D1E105-4B2F-F458-10EA-150708CFCAC6}"/>
              </a:ext>
            </a:extLst>
          </p:cNvPr>
          <p:cNvSpPr/>
          <p:nvPr/>
        </p:nvSpPr>
        <p:spPr>
          <a:xfrm>
            <a:off x="994052" y="3299804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0E0D1BB-B509-D170-FAB2-31E322C4D941}"/>
              </a:ext>
            </a:extLst>
          </p:cNvPr>
          <p:cNvSpPr/>
          <p:nvPr/>
        </p:nvSpPr>
        <p:spPr>
          <a:xfrm>
            <a:off x="686229" y="3354630"/>
            <a:ext cx="155423" cy="15542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C0842B-6659-BFF2-947A-C0BE9F450AC7}"/>
              </a:ext>
            </a:extLst>
          </p:cNvPr>
          <p:cNvSpPr/>
          <p:nvPr/>
        </p:nvSpPr>
        <p:spPr>
          <a:xfrm>
            <a:off x="994052" y="3759773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/>
              <a:t>This is a sample text. </a:t>
            </a:r>
            <a:endParaRPr lang="en-US" sz="1400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3E8B54A-31D8-BAAC-A208-4B5D93764064}"/>
              </a:ext>
            </a:extLst>
          </p:cNvPr>
          <p:cNvSpPr/>
          <p:nvPr/>
        </p:nvSpPr>
        <p:spPr>
          <a:xfrm>
            <a:off x="686229" y="3814599"/>
            <a:ext cx="155423" cy="15542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BC661CA-E0C8-4324-D43A-1CCF203D2E72}"/>
              </a:ext>
            </a:extLst>
          </p:cNvPr>
          <p:cNvSpPr/>
          <p:nvPr/>
        </p:nvSpPr>
        <p:spPr>
          <a:xfrm>
            <a:off x="3486683" y="2435952"/>
            <a:ext cx="155423" cy="15542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5EAD69B-8C96-5FB7-A8CC-783C1F3A3C08}"/>
              </a:ext>
            </a:extLst>
          </p:cNvPr>
          <p:cNvSpPr/>
          <p:nvPr/>
        </p:nvSpPr>
        <p:spPr>
          <a:xfrm>
            <a:off x="3486683" y="2895291"/>
            <a:ext cx="155423" cy="15542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A6467D3-43E8-1C4D-B2DF-FFE9B396F3B2}"/>
              </a:ext>
            </a:extLst>
          </p:cNvPr>
          <p:cNvSpPr/>
          <p:nvPr/>
        </p:nvSpPr>
        <p:spPr>
          <a:xfrm>
            <a:off x="3482670" y="3354630"/>
            <a:ext cx="155423" cy="15542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E9D69F4-74D2-EEB9-2DBA-D3C520A98038}"/>
              </a:ext>
            </a:extLst>
          </p:cNvPr>
          <p:cNvSpPr/>
          <p:nvPr/>
        </p:nvSpPr>
        <p:spPr>
          <a:xfrm>
            <a:off x="3482670" y="3814599"/>
            <a:ext cx="155423" cy="15542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F69B3A2-6A7C-93B9-82A6-480C58134CFD}"/>
              </a:ext>
            </a:extLst>
          </p:cNvPr>
          <p:cNvSpPr/>
          <p:nvPr/>
        </p:nvSpPr>
        <p:spPr>
          <a:xfrm>
            <a:off x="6333013" y="2435952"/>
            <a:ext cx="155423" cy="15542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7BEDB03-39FD-380B-7E82-5C1F32A8F17F}"/>
              </a:ext>
            </a:extLst>
          </p:cNvPr>
          <p:cNvSpPr/>
          <p:nvPr/>
        </p:nvSpPr>
        <p:spPr>
          <a:xfrm>
            <a:off x="6333013" y="2895291"/>
            <a:ext cx="155423" cy="15542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176B2AB-BD3D-DD9D-8EDE-39841E2EC73E}"/>
              </a:ext>
            </a:extLst>
          </p:cNvPr>
          <p:cNvSpPr/>
          <p:nvPr/>
        </p:nvSpPr>
        <p:spPr>
          <a:xfrm>
            <a:off x="6329000" y="3354630"/>
            <a:ext cx="155423" cy="15542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66FC530-C6D8-5996-07EE-F0A591C24523}"/>
              </a:ext>
            </a:extLst>
          </p:cNvPr>
          <p:cNvSpPr/>
          <p:nvPr/>
        </p:nvSpPr>
        <p:spPr>
          <a:xfrm>
            <a:off x="6329000" y="3814599"/>
            <a:ext cx="155423" cy="15542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5A94EF9-12C2-93D0-4025-1525843E17DE}"/>
              </a:ext>
            </a:extLst>
          </p:cNvPr>
          <p:cNvSpPr/>
          <p:nvPr/>
        </p:nvSpPr>
        <p:spPr>
          <a:xfrm>
            <a:off x="9068362" y="2435952"/>
            <a:ext cx="155423" cy="15542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4E868D7-79F3-5ACA-9B05-76052833BC17}"/>
              </a:ext>
            </a:extLst>
          </p:cNvPr>
          <p:cNvSpPr/>
          <p:nvPr/>
        </p:nvSpPr>
        <p:spPr>
          <a:xfrm>
            <a:off x="9068362" y="2895291"/>
            <a:ext cx="155423" cy="15542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2239A98-C55E-0193-9038-2A4BD7C144A8}"/>
              </a:ext>
            </a:extLst>
          </p:cNvPr>
          <p:cNvSpPr/>
          <p:nvPr/>
        </p:nvSpPr>
        <p:spPr>
          <a:xfrm>
            <a:off x="9064349" y="3354630"/>
            <a:ext cx="155423" cy="15542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EE913E1-EC8D-EB9D-5780-E05484CC7A2F}"/>
              </a:ext>
            </a:extLst>
          </p:cNvPr>
          <p:cNvSpPr/>
          <p:nvPr/>
        </p:nvSpPr>
        <p:spPr>
          <a:xfrm>
            <a:off x="9064349" y="3814599"/>
            <a:ext cx="155423" cy="15542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05D158A8-DE7A-F08C-8444-B0A7679DD4A4}"/>
              </a:ext>
            </a:extLst>
          </p:cNvPr>
          <p:cNvGraphicFramePr/>
          <p:nvPr/>
        </p:nvGraphicFramePr>
        <p:xfrm>
          <a:off x="493332" y="4048886"/>
          <a:ext cx="2745870" cy="1830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6C88E5C3-E0A5-0977-D88B-86DC385E5034}"/>
              </a:ext>
            </a:extLst>
          </p:cNvPr>
          <p:cNvGraphicFramePr/>
          <p:nvPr/>
        </p:nvGraphicFramePr>
        <p:xfrm>
          <a:off x="3326850" y="4048886"/>
          <a:ext cx="2745870" cy="1830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91BC482E-1B72-9B47-48B0-F83C92E12FD6}"/>
              </a:ext>
            </a:extLst>
          </p:cNvPr>
          <p:cNvGraphicFramePr/>
          <p:nvPr/>
        </p:nvGraphicFramePr>
        <p:xfrm>
          <a:off x="6119279" y="4048885"/>
          <a:ext cx="2745870" cy="1830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5F8B0F66-0B82-750C-273E-04140E51B98F}"/>
              </a:ext>
            </a:extLst>
          </p:cNvPr>
          <p:cNvGraphicFramePr/>
          <p:nvPr/>
        </p:nvGraphicFramePr>
        <p:xfrm>
          <a:off x="8911707" y="4048885"/>
          <a:ext cx="2745870" cy="1830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6EC17AD3-E961-5F49-C0AB-9DECB0B83EE8}"/>
              </a:ext>
            </a:extLst>
          </p:cNvPr>
          <p:cNvSpPr txBox="1"/>
          <p:nvPr/>
        </p:nvSpPr>
        <p:spPr>
          <a:xfrm>
            <a:off x="1517453" y="4764120"/>
            <a:ext cx="6976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/>
              <a:t>43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8622BEF-8EA0-ABA9-84D3-42F2C20C6376}"/>
              </a:ext>
            </a:extLst>
          </p:cNvPr>
          <p:cNvSpPr txBox="1"/>
          <p:nvPr/>
        </p:nvSpPr>
        <p:spPr>
          <a:xfrm>
            <a:off x="4350971" y="4764120"/>
            <a:ext cx="6976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/>
              <a:t>43%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65EA9AF-A94E-5C8C-3A84-64FAF6ED818F}"/>
              </a:ext>
            </a:extLst>
          </p:cNvPr>
          <p:cNvSpPr txBox="1"/>
          <p:nvPr/>
        </p:nvSpPr>
        <p:spPr>
          <a:xfrm>
            <a:off x="7122855" y="4764120"/>
            <a:ext cx="6976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/>
              <a:t>43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6890FBF-B1F5-EB6F-4BAB-15D0BFF1759B}"/>
              </a:ext>
            </a:extLst>
          </p:cNvPr>
          <p:cNvSpPr txBox="1"/>
          <p:nvPr/>
        </p:nvSpPr>
        <p:spPr>
          <a:xfrm>
            <a:off x="9956373" y="4764120"/>
            <a:ext cx="6976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/>
              <a:t>43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20B7424-299F-18D2-7D83-7DF47F463E85}"/>
              </a:ext>
            </a:extLst>
          </p:cNvPr>
          <p:cNvSpPr/>
          <p:nvPr/>
        </p:nvSpPr>
        <p:spPr>
          <a:xfrm>
            <a:off x="3826365" y="2381126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4870203-57A4-46A4-9093-35C029E22B21}"/>
              </a:ext>
            </a:extLst>
          </p:cNvPr>
          <p:cNvSpPr/>
          <p:nvPr/>
        </p:nvSpPr>
        <p:spPr>
          <a:xfrm>
            <a:off x="3826365" y="2840465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39B4ECD-E19B-AB5C-4EC6-AE9A3E58C661}"/>
              </a:ext>
            </a:extLst>
          </p:cNvPr>
          <p:cNvSpPr/>
          <p:nvPr/>
        </p:nvSpPr>
        <p:spPr>
          <a:xfrm>
            <a:off x="3822352" y="3299804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4EC0881-3F91-97F6-115F-A5455E7EE5EF}"/>
              </a:ext>
            </a:extLst>
          </p:cNvPr>
          <p:cNvSpPr/>
          <p:nvPr/>
        </p:nvSpPr>
        <p:spPr>
          <a:xfrm>
            <a:off x="3822352" y="3759773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/>
              <a:t>This is a sample text. </a:t>
            </a:r>
            <a:endParaRPr lang="en-US" sz="14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74B99B5-20AF-A4BB-A441-CD32EE11DD79}"/>
              </a:ext>
            </a:extLst>
          </p:cNvPr>
          <p:cNvSpPr/>
          <p:nvPr/>
        </p:nvSpPr>
        <p:spPr>
          <a:xfrm>
            <a:off x="6624012" y="2381126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920CDBC-6C53-DF5B-C6E6-FB38CC5811AB}"/>
              </a:ext>
            </a:extLst>
          </p:cNvPr>
          <p:cNvSpPr/>
          <p:nvPr/>
        </p:nvSpPr>
        <p:spPr>
          <a:xfrm>
            <a:off x="6624012" y="2840465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65A96A3-8F58-CE8F-3E49-AF6A796F4B63}"/>
              </a:ext>
            </a:extLst>
          </p:cNvPr>
          <p:cNvSpPr/>
          <p:nvPr/>
        </p:nvSpPr>
        <p:spPr>
          <a:xfrm>
            <a:off x="6619999" y="3299804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B53C595-619B-4CE4-A162-9625ABB72821}"/>
              </a:ext>
            </a:extLst>
          </p:cNvPr>
          <p:cNvSpPr/>
          <p:nvPr/>
        </p:nvSpPr>
        <p:spPr>
          <a:xfrm>
            <a:off x="6619999" y="3759773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/>
              <a:t>This is a sample text. </a:t>
            </a:r>
            <a:endParaRPr lang="en-US" sz="14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AFB08D7-A6F5-6649-6A78-F099FBDBA9D0}"/>
              </a:ext>
            </a:extLst>
          </p:cNvPr>
          <p:cNvSpPr/>
          <p:nvPr/>
        </p:nvSpPr>
        <p:spPr>
          <a:xfrm>
            <a:off x="9379363" y="2381126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78DA559-ABA3-AD74-7BF5-FF8AEC177FF4}"/>
              </a:ext>
            </a:extLst>
          </p:cNvPr>
          <p:cNvSpPr/>
          <p:nvPr/>
        </p:nvSpPr>
        <p:spPr>
          <a:xfrm>
            <a:off x="9379363" y="2840465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0319351-2A96-FDE1-3BE4-40F69044F00C}"/>
              </a:ext>
            </a:extLst>
          </p:cNvPr>
          <p:cNvSpPr/>
          <p:nvPr/>
        </p:nvSpPr>
        <p:spPr>
          <a:xfrm>
            <a:off x="9375350" y="3299804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 dirty="0"/>
              <a:t>This is a sample text.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C7DE635-A58B-F11A-F6AF-C0202262E934}"/>
              </a:ext>
            </a:extLst>
          </p:cNvPr>
          <p:cNvSpPr/>
          <p:nvPr/>
        </p:nvSpPr>
        <p:spPr>
          <a:xfrm>
            <a:off x="9375350" y="3759773"/>
            <a:ext cx="22451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400"/>
              <a:t>This is a sample text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237198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8</TotalTime>
  <Words>110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44</cp:revision>
  <dcterms:created xsi:type="dcterms:W3CDTF">2021-03-31T02:49:57Z</dcterms:created>
  <dcterms:modified xsi:type="dcterms:W3CDTF">2025-10-15T08:41:56Z</dcterms:modified>
  <cp:category/>
</cp:coreProperties>
</file>